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sldIdLst>
    <p:sldId id="260" r:id="rId3"/>
    <p:sldId id="257" r:id="rId4"/>
    <p:sldId id="256" r:id="rId5"/>
    <p:sldId id="535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1"/>
    <p:restoredTop sz="94694"/>
  </p:normalViewPr>
  <p:slideViewPr>
    <p:cSldViewPr snapToGrid="0" snapToObjects="1">
      <p:cViewPr varScale="1">
        <p:scale>
          <a:sx n="128" d="100"/>
          <a:sy n="128" d="100"/>
        </p:scale>
        <p:origin x="48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C17AAE-9586-204C-A95E-B7C74F86A2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284CDEC-FCDB-C246-9D0A-A2DDA8900D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2C57B6-218C-2743-981F-0C70EE1650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C6D4DE-A806-0843-B92D-E6391476A0D8}" type="datetimeFigureOut">
              <a:rPr lang="en-US" smtClean="0"/>
              <a:t>7/1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A01971-6B56-2D43-AF35-0FE7C0DB0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A0105F-C1E1-7041-A83A-4EF060BF07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F6D59-20F1-2540-A324-0278D60CE3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827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CC6ED-280F-924D-9AD7-ADC295CAB3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E45EC9-E1EC-9D4D-9538-C7C9F4980F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E76D1F-FCEE-D34B-829A-1F27FEC0BA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C6D4DE-A806-0843-B92D-E6391476A0D8}" type="datetimeFigureOut">
              <a:rPr lang="en-US" smtClean="0"/>
              <a:t>7/1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FB5C93-9A96-E945-8EF0-7BC1F106D6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1597AD-0793-C74E-B699-73A235107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F6D59-20F1-2540-A324-0278D60CE3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9667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EA8B5C7-8C46-1F4B-8EEA-F194D859EA6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BEAC5C2-9CAA-9844-9309-B507548E268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973FB6-DDA8-864F-9F7E-9F0F0B3B7D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C6D4DE-A806-0843-B92D-E6391476A0D8}" type="datetimeFigureOut">
              <a:rPr lang="en-US" smtClean="0"/>
              <a:t>7/1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1C6E63-47C1-7547-8903-E6380536A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7C2281-9837-894B-88C4-9B42CF222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F6D59-20F1-2540-A324-0278D60CE3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7568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995" y="5158358"/>
            <a:ext cx="11061895" cy="384175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2133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995" y="5478354"/>
            <a:ext cx="11061895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133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5" y="5798350"/>
            <a:ext cx="11061895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133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23" y="4281951"/>
            <a:ext cx="11070167" cy="398668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625995" y="521745"/>
            <a:ext cx="1060704" cy="563500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85095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3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7091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3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74959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933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897" y="2054069"/>
            <a:ext cx="10629664" cy="3038449"/>
          </a:xfrm>
          <a:prstGeom prst="rect">
            <a:avLst/>
          </a:prstGeom>
        </p:spPr>
        <p:txBody>
          <a:bodyPr>
            <a:noAutofit/>
          </a:bodyPr>
          <a:lstStyle>
            <a:lvl1pPr marL="244794" indent="-533277" algn="l">
              <a:lnSpc>
                <a:spcPct val="90000"/>
              </a:lnSpc>
              <a:defRPr sz="5333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70322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933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897" y="2054069"/>
            <a:ext cx="10629664" cy="3038449"/>
          </a:xfrm>
          <a:prstGeom prst="rect">
            <a:avLst/>
          </a:prstGeom>
        </p:spPr>
        <p:txBody>
          <a:bodyPr>
            <a:noAutofit/>
          </a:bodyPr>
          <a:lstStyle>
            <a:lvl1pPr marL="244794" indent="-533277" algn="l">
              <a:lnSpc>
                <a:spcPct val="90000"/>
              </a:lnSpc>
              <a:defRPr sz="5333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83402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666751" y="5233661"/>
            <a:ext cx="10852149" cy="663195"/>
          </a:xfrm>
          <a:prstGeom prst="rect">
            <a:avLst/>
          </a:prstGeom>
          <a:noFill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3867"/>
              </a:lnSpc>
              <a:spcBef>
                <a:spcPts val="0"/>
              </a:spcBef>
              <a:buNone/>
              <a:defRPr sz="32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06027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919356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24267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>
              <a:latin typeface="+mj-lt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636906" y="6322205"/>
            <a:ext cx="4622389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9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3" y="320842"/>
            <a:ext cx="11307184" cy="5688861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256220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2EBADF-5D96-F549-8665-B3EDF0CE34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D0506C-D35C-E048-9EFD-28F1B6F3F6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A4AEA-6514-E74D-8CD4-7CAA831989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C6D4DE-A806-0843-B92D-E6391476A0D8}" type="datetimeFigureOut">
              <a:rPr lang="en-US" smtClean="0"/>
              <a:t>7/1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D70DAA-340C-A646-BD25-0FB07803D6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419E70-CD6F-F741-A33C-9611D25089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F6D59-20F1-2540-A324-0278D60CE3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6963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36608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199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41155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7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18431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71619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73218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711200" y="1797051"/>
            <a:ext cx="10820400" cy="3544971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690" y="5530961"/>
            <a:ext cx="9573749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0341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711200" y="1602318"/>
            <a:ext cx="10820400" cy="3744383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690" y="5530961"/>
            <a:ext cx="9573749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54236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32883" y="1797051"/>
            <a:ext cx="11040076" cy="409859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80910" marR="0" indent="-380910" algn="ctr" defTabSz="60945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667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1235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220243"/>
            <a:ext cx="4882699" cy="390115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60000"/>
              <a:buFont typeface="Arial"/>
              <a:buChar char="•"/>
              <a:defRPr sz="2667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60000"/>
              <a:buFont typeface="Arial"/>
              <a:buChar char="•"/>
              <a:defRPr sz="2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537620" indent="-152396">
              <a:buClr>
                <a:schemeClr val="tx2"/>
              </a:buClr>
              <a:buSzPct val="60000"/>
              <a:buFont typeface="Arial"/>
              <a:buChar char="•"/>
              <a:defRPr sz="2133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690016" indent="-152396">
              <a:buClr>
                <a:schemeClr val="tx2"/>
              </a:buClr>
              <a:buSzPct val="60000"/>
              <a:buFont typeface="Arial"/>
              <a:buChar char="•"/>
              <a:defRPr sz="1867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842412" indent="-152396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455085"/>
            <a:ext cx="4915412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8408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58801" y="2209800"/>
            <a:ext cx="5103284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6618" y="709083"/>
            <a:ext cx="4734983" cy="5412316"/>
          </a:xfrm>
          <a:prstGeom prst="rect">
            <a:avLst/>
          </a:prstGeom>
        </p:spPr>
        <p:txBody>
          <a:bodyPr lIns="0" rIns="0" anchor="ctr" anchorCtr="0"/>
          <a:lstStyle>
            <a:lvl1pPr marL="226478" indent="-226478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304792" algn="l"/>
              </a:tabLst>
              <a:defRPr sz="3200"/>
            </a:lvl1pPr>
            <a:lvl2pPr marL="461422" indent="-228594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3200"/>
            </a:lvl2pPr>
            <a:lvl3pPr marL="609585" indent="-156629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667"/>
            </a:lvl3pPr>
            <a:lvl4pPr marL="766214" indent="-156629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2400"/>
            </a:lvl4pPr>
            <a:lvl5pPr marL="992693" indent="-15028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457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680720"/>
            <a:ext cx="5078396" cy="873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6618" y="680720"/>
            <a:ext cx="4734983" cy="5440680"/>
          </a:xfrm>
          <a:prstGeom prst="rect">
            <a:avLst/>
          </a:prstGeom>
        </p:spPr>
        <p:txBody>
          <a:bodyPr lIns="0" rIns="0"/>
          <a:lstStyle>
            <a:lvl1pPr marL="152396" indent="-152396">
              <a:lnSpc>
                <a:spcPct val="100000"/>
              </a:lnSpc>
              <a:buClr>
                <a:schemeClr val="tx1"/>
              </a:buClr>
              <a:buSzPct val="60000"/>
              <a:defRPr sz="2667"/>
            </a:lvl1pPr>
            <a:lvl2pPr marL="304792" indent="-152396">
              <a:lnSpc>
                <a:spcPct val="100000"/>
              </a:lnSpc>
              <a:buClr>
                <a:schemeClr val="tx1"/>
              </a:buClr>
              <a:buSzPct val="60000"/>
              <a:defRPr sz="2667"/>
            </a:lvl2pPr>
            <a:lvl3pPr marL="457189" indent="-152396">
              <a:lnSpc>
                <a:spcPct val="100000"/>
              </a:lnSpc>
              <a:buClr>
                <a:schemeClr val="tx1"/>
              </a:buClr>
              <a:buSzPct val="60000"/>
              <a:defRPr sz="2400"/>
            </a:lvl3pPr>
            <a:lvl4pPr marL="609585" indent="-165096">
              <a:lnSpc>
                <a:spcPct val="100000"/>
              </a:lnSpc>
              <a:buClr>
                <a:schemeClr val="tx1"/>
              </a:buClr>
              <a:buSzPct val="60000"/>
              <a:defRPr sz="2133"/>
            </a:lvl4pPr>
            <a:lvl5pPr marL="766214" indent="-156629">
              <a:lnSpc>
                <a:spcPct val="100000"/>
              </a:lnSpc>
              <a:buClr>
                <a:schemeClr val="tx1"/>
              </a:buClr>
              <a:buSzPct val="60000"/>
              <a:defRPr sz="21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83689" y="2213123"/>
            <a:ext cx="5078396" cy="3908277"/>
          </a:xfrm>
          <a:prstGeom prst="rect">
            <a:avLst/>
          </a:prstGeom>
        </p:spPr>
        <p:txBody>
          <a:bodyPr/>
          <a:lstStyle>
            <a:lvl1pPr marL="152396" indent="-152396">
              <a:buClr>
                <a:schemeClr val="tx2"/>
              </a:buClr>
              <a:buSzPct val="60000"/>
              <a:defRPr lang="en-US" sz="2667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304792" indent="-152396">
              <a:buClr>
                <a:schemeClr val="tx2"/>
              </a:buClr>
              <a:buSzPct val="60000"/>
              <a:defRPr sz="2667">
                <a:solidFill>
                  <a:schemeClr val="bg1"/>
                </a:solidFill>
              </a:defRPr>
            </a:lvl2pPr>
            <a:lvl3pPr marL="457189" indent="-152396">
              <a:buClr>
                <a:schemeClr val="tx2"/>
              </a:buClr>
              <a:buSzPct val="60000"/>
              <a:defRPr sz="2400">
                <a:solidFill>
                  <a:schemeClr val="bg1"/>
                </a:solidFill>
              </a:defRPr>
            </a:lvl3pPr>
            <a:lvl4pPr marL="609585" indent="-165096">
              <a:buClr>
                <a:schemeClr val="tx2"/>
              </a:buClr>
              <a:buSzPct val="60000"/>
              <a:defRPr sz="2133">
                <a:solidFill>
                  <a:schemeClr val="bg1"/>
                </a:solidFill>
              </a:defRPr>
            </a:lvl4pPr>
            <a:lvl5pPr marL="766214" indent="-156629">
              <a:buClr>
                <a:schemeClr val="tx2"/>
              </a:buClr>
              <a:buSzPct val="60000"/>
              <a:defRPr sz="21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0065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BCBE4E-F3F3-1F4E-A7C3-ED3FD5FEE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E5D428-11CF-A140-B8FF-570A8983AB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0F64E0-F609-0C40-84D8-9227117D85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C6D4DE-A806-0843-B92D-E6391476A0D8}" type="datetimeFigureOut">
              <a:rPr lang="en-US" smtClean="0"/>
              <a:t>7/1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681FE0-E248-8546-8697-7BA4A5C06F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AE83DC-6660-2643-B679-E899B4E4F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F6D59-20F1-2540-A324-0278D60CE3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8685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2212975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6034" y="709084"/>
            <a:ext cx="4745567" cy="448646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786034" y="5416468"/>
            <a:ext cx="4745567" cy="70019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636906" y="6322205"/>
            <a:ext cx="3817557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9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9984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2212975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6034" y="709084"/>
            <a:ext cx="4745567" cy="541231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956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2212975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636905" y="6322205"/>
            <a:ext cx="3929119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9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5079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2212975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106790" y="0"/>
            <a:ext cx="6085209" cy="6858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636905" y="6322205"/>
            <a:ext cx="4399267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30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9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505339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6786034" y="670984"/>
            <a:ext cx="4745567" cy="54504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784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2212975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786034" y="670984"/>
            <a:ext cx="4745567" cy="54504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890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5017326" y="2838769"/>
            <a:ext cx="2157349" cy="114609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3105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964757-8551-E54D-B739-B3CA06C2E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B00FD2-5A73-5B46-AC04-B4793125C00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DD99346-B13A-4F4E-8715-F4D264630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13DA1A-F1B1-8A42-9794-9E2A201035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C6D4DE-A806-0843-B92D-E6391476A0D8}" type="datetimeFigureOut">
              <a:rPr lang="en-US" smtClean="0"/>
              <a:t>7/1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EDFA85-2355-CF46-A678-B4D75B3A3A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AC0B87F-05FD-2443-9A07-D587F875A5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F6D59-20F1-2540-A324-0278D60CE3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0469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EB1755-0A85-D94A-A1AD-222A8D5C7E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295008-B5E8-9D4E-904A-DD72B479F6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9FE21C5-C8E6-ED40-B921-BBAF358352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7A0427-0D04-144F-85E9-8CB30FCBE9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B9C18A4-9EE1-4640-81D5-44FA534F437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B560AD1-E17E-C943-9FA2-A9A2EB633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C6D4DE-A806-0843-B92D-E6391476A0D8}" type="datetimeFigureOut">
              <a:rPr lang="en-US" smtClean="0"/>
              <a:t>7/1/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5F047F4-BAF8-8242-B5CA-DD5D8A3BC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BBA0FF0-B8DB-2447-ADA1-602407C071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F6D59-20F1-2540-A324-0278D60CE3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476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8CFBF7-59CE-2D47-81C9-AAD5D41581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D1A4B8-DACA-6F44-9BC5-5F19809CD6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C6D4DE-A806-0843-B92D-E6391476A0D8}" type="datetimeFigureOut">
              <a:rPr lang="en-US" smtClean="0"/>
              <a:t>7/1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3B58B5-D919-884E-852F-BA1A1475EF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9549D9-10AF-BA49-8782-FF68A9E271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F6D59-20F1-2540-A324-0278D60CE3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4888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EC302C2-03ED-EE46-BAD5-813752A7C5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C6D4DE-A806-0843-B92D-E6391476A0D8}" type="datetimeFigureOut">
              <a:rPr lang="en-US" smtClean="0"/>
              <a:t>7/1/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19EDFD-EC0C-6949-8251-6BE43350A1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AAD9AC-D247-FB4E-95B7-98EDB7D1A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F6D59-20F1-2540-A324-0278D60CE3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6120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C64ECF-6999-8F45-A19F-4262C84A18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809790-3C84-0449-B439-6558EFD9E0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F799FE-1B78-4340-BF07-72698112F1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A32D1AB-4C9B-4447-AD5D-67B55571FA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C6D4DE-A806-0843-B92D-E6391476A0D8}" type="datetimeFigureOut">
              <a:rPr lang="en-US" smtClean="0"/>
              <a:t>7/1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5C732B-1D91-E049-A1A1-0910A5ACA8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2DEDEA-2340-0B4C-BDC6-CACC90B275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F6D59-20F1-2540-A324-0278D60CE3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30409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35AB81-ED18-C749-8AE3-E1A971417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718A59-CD64-824E-83E1-5235865B3CE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475622-AB75-A344-876F-6AB4363BCE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9C919B6-E272-1749-BBFC-85A73B3960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C6D4DE-A806-0843-B92D-E6391476A0D8}" type="datetimeFigureOut">
              <a:rPr lang="en-US" smtClean="0"/>
              <a:t>7/1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5A6E1-98AB-0647-AAC9-E6A381AA23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3C3DF1-ED2B-214F-A72C-C0CDA0604F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4F6D59-20F1-2540-A324-0278D60CE3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9033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DF002E0-7630-174B-BEDB-B4628461B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A2818E-582B-BE4E-82E2-DDD6AC27CF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0A915C-D896-5C4F-9E97-002FA9C96F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C6D4DE-A806-0843-B92D-E6391476A0D8}" type="datetimeFigureOut">
              <a:rPr lang="en-US" smtClean="0"/>
              <a:t>7/1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1B7E16-6348-2B43-AC9C-F0668AA9D6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F3631C-A4BC-514B-9D52-390F630F13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4F6D59-20F1-2540-A324-0278D60CE3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295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636906" y="6322205"/>
            <a:ext cx="4534733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 dirty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19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0132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</p:sldLayoutIdLst>
  <p:hf sldNum="0" hdr="0" dt="0"/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733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478" indent="-226478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355" indent="-287859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719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hyperlink" Target="mailto:blackbelt@webex.bot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 idx="4294967295"/>
          </p:nvPr>
        </p:nvSpPr>
        <p:spPr>
          <a:xfrm>
            <a:off x="739962" y="2660859"/>
            <a:ext cx="11061895" cy="1606340"/>
          </a:xfrm>
        </p:spPr>
        <p:txBody>
          <a:bodyPr/>
          <a:lstStyle/>
          <a:p>
            <a:br>
              <a:rPr lang="en-US" sz="3200" b="1" dirty="0">
                <a:ea typeface="Arial" charset="0"/>
                <a:cs typeface="Arial" charset="0"/>
              </a:rPr>
            </a:br>
            <a:r>
              <a:rPr lang="en-IN" sz="4267" b="1" dirty="0">
                <a:solidFill>
                  <a:schemeClr val="bg2"/>
                </a:solidFill>
                <a:ea typeface="Arial" charset="0"/>
                <a:cs typeface="Arial" charset="0"/>
              </a:rPr>
              <a:t>C</a:t>
            </a:r>
            <a:r>
              <a:rPr lang="en-IN" sz="4267" dirty="0">
                <a:solidFill>
                  <a:schemeClr val="bg2"/>
                </a:solidFill>
                <a:ea typeface="Arial" charset="0"/>
                <a:cs typeface="Arial" charset="0"/>
              </a:rPr>
              <a:t>isco Programmability </a:t>
            </a:r>
            <a:r>
              <a:rPr lang="en-IN" sz="4267" b="1" dirty="0" err="1">
                <a:solidFill>
                  <a:schemeClr val="bg2"/>
                </a:solidFill>
                <a:ea typeface="Arial" charset="0"/>
                <a:cs typeface="Arial" charset="0"/>
              </a:rPr>
              <a:t>B</a:t>
            </a:r>
            <a:r>
              <a:rPr lang="en-IN" sz="4267" dirty="0" err="1">
                <a:solidFill>
                  <a:schemeClr val="bg2"/>
                </a:solidFill>
                <a:ea typeface="Arial" charset="0"/>
                <a:cs typeface="Arial" charset="0"/>
              </a:rPr>
              <a:t>lack</a:t>
            </a:r>
            <a:r>
              <a:rPr lang="en-IN" sz="4267" b="1" dirty="0" err="1">
                <a:solidFill>
                  <a:schemeClr val="bg2"/>
                </a:solidFill>
                <a:ea typeface="Arial" charset="0"/>
                <a:cs typeface="Arial" charset="0"/>
              </a:rPr>
              <a:t>B</a:t>
            </a:r>
            <a:r>
              <a:rPr lang="en-IN" sz="4267" dirty="0" err="1">
                <a:solidFill>
                  <a:schemeClr val="bg2"/>
                </a:solidFill>
                <a:ea typeface="Arial" charset="0"/>
                <a:cs typeface="Arial" charset="0"/>
              </a:rPr>
              <a:t>elt</a:t>
            </a:r>
            <a:r>
              <a:rPr lang="en-IN" sz="4267" dirty="0">
                <a:solidFill>
                  <a:schemeClr val="bg2"/>
                </a:solidFill>
                <a:ea typeface="Arial" charset="0"/>
                <a:cs typeface="Arial" charset="0"/>
              </a:rPr>
              <a:t> Bot – API Quick Reference Usage</a:t>
            </a:r>
            <a:br>
              <a:rPr lang="en-IN" sz="3200" dirty="0">
                <a:ea typeface="Arial" charset="0"/>
                <a:cs typeface="Arial" charset="0"/>
              </a:rPr>
            </a:br>
            <a:endParaRPr lang="en-US" sz="2133" dirty="0">
              <a:ea typeface="Arial" charset="0"/>
              <a:cs typeface="Arial" charset="0"/>
            </a:endParaRPr>
          </a:p>
        </p:txBody>
      </p:sp>
      <p:sp>
        <p:nvSpPr>
          <p:cNvPr id="7" name="Subtitle 1">
            <a:extLst>
              <a:ext uri="{FF2B5EF4-FFF2-40B4-BE49-F238E27FC236}">
                <a16:creationId xmlns:a16="http://schemas.microsoft.com/office/drawing/2014/main" id="{FF43630C-81FF-EF4E-8AF8-486CE96F5B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9961" y="5063853"/>
            <a:ext cx="11061895" cy="384175"/>
          </a:xfrm>
        </p:spPr>
        <p:txBody>
          <a:bodyPr/>
          <a:lstStyle/>
          <a:p>
            <a:r>
              <a:rPr lang="en-US" dirty="0"/>
              <a:t>Joel Jose (</a:t>
            </a:r>
            <a:r>
              <a:rPr lang="en-US" dirty="0" err="1"/>
              <a:t>joeljos@cisco.com</a:t>
            </a:r>
            <a:r>
              <a:rPr lang="en-US" dirty="0"/>
              <a:t>)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CFEF545-34DE-544A-80B6-1B1742E3A5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39961" y="5448028"/>
            <a:ext cx="11061895" cy="384175"/>
          </a:xfrm>
        </p:spPr>
        <p:txBody>
          <a:bodyPr/>
          <a:lstStyle/>
          <a:p>
            <a:r>
              <a:rPr lang="en-US" dirty="0"/>
              <a:t>APJC Programmability Partner Systems Engineer</a:t>
            </a:r>
          </a:p>
          <a:p>
            <a:r>
              <a:rPr lang="en-US" sz="1600" dirty="0"/>
              <a:t>Date : 03 April 2019 </a:t>
            </a:r>
          </a:p>
        </p:txBody>
      </p:sp>
    </p:spTree>
    <p:extLst>
      <p:ext uri="{BB962C8B-B14F-4D97-AF65-F5344CB8AC3E}">
        <p14:creationId xmlns:p14="http://schemas.microsoft.com/office/powerpoint/2010/main" val="3913956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9">
            <a:extLst>
              <a:ext uri="{FF2B5EF4-FFF2-40B4-BE49-F238E27FC236}">
                <a16:creationId xmlns:a16="http://schemas.microsoft.com/office/drawing/2014/main" id="{BFB5D126-3468-394F-9FF9-35F42ADC6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0463"/>
            <a:ext cx="10366514" cy="731837"/>
          </a:xfrm>
        </p:spPr>
        <p:txBody>
          <a:bodyPr>
            <a:normAutofit/>
          </a:bodyPr>
          <a:lstStyle/>
          <a:p>
            <a:r>
              <a:rPr lang="en-US" dirty="0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Step 1- Accessing the </a:t>
            </a:r>
            <a:r>
              <a:rPr lang="en-US" dirty="0" err="1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BlackBelt</a:t>
            </a:r>
            <a:r>
              <a:rPr lang="en-US" dirty="0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bot</a:t>
            </a:r>
          </a:p>
        </p:txBody>
      </p:sp>
      <p:sp>
        <p:nvSpPr>
          <p:cNvPr id="5" name="TextBox 4" descr="screenshot of webex team interaction">
            <a:extLst>
              <a:ext uri="{FF2B5EF4-FFF2-40B4-BE49-F238E27FC236}">
                <a16:creationId xmlns:a16="http://schemas.microsoft.com/office/drawing/2014/main" id="{70BB163C-6AC8-5843-BF45-D014F998400C}"/>
              </a:ext>
            </a:extLst>
          </p:cNvPr>
          <p:cNvSpPr txBox="1"/>
          <p:nvPr/>
        </p:nvSpPr>
        <p:spPr>
          <a:xfrm>
            <a:off x="0" y="1677297"/>
            <a:ext cx="844333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a) Click on the + icon to the left pane of the </a:t>
            </a:r>
            <a:r>
              <a:rPr lang="en-US" sz="1600" dirty="0" err="1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Webex</a:t>
            </a:r>
            <a:r>
              <a:rPr lang="en-US" sz="1600" dirty="0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Teams and select </a:t>
            </a:r>
            <a:r>
              <a:rPr lang="en-US" sz="1600" dirty="0">
                <a:highlight>
                  <a:srgbClr val="FFFF00"/>
                </a:highlight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“Contact a Person”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CDC39FE-1628-D949-B7E1-9FE343DF7098}"/>
              </a:ext>
            </a:extLst>
          </p:cNvPr>
          <p:cNvSpPr txBox="1"/>
          <p:nvPr/>
        </p:nvSpPr>
        <p:spPr>
          <a:xfrm>
            <a:off x="0" y="2390684"/>
            <a:ext cx="87254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b) On the right pane – type </a:t>
            </a:r>
            <a:r>
              <a:rPr lang="en-US" sz="1600" dirty="0">
                <a:highlight>
                  <a:srgbClr val="FFFF00"/>
                </a:highlight>
                <a:latin typeface="CiscoSansTT ExtraLight" panose="020B0303020201020303" pitchFamily="34" charset="0"/>
                <a:cs typeface="CiscoSansTT ExtraLight" panose="020B0303020201020303" pitchFamily="34" charset="0"/>
                <a:hlinkClick r:id="rId2"/>
              </a:rPr>
              <a:t>blackbelt@webex.bot</a:t>
            </a:r>
            <a:r>
              <a:rPr lang="en-US" sz="1600" dirty="0">
                <a:highlight>
                  <a:srgbClr val="FFFF00"/>
                </a:highlight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dirty="0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as the person to contact to and press enter</a:t>
            </a:r>
          </a:p>
        </p:txBody>
      </p:sp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F3D2B28E-BA3C-2F47-BA91-79505CFCF5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394235"/>
            <a:ext cx="9144000" cy="286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3088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9">
            <a:extLst>
              <a:ext uri="{FF2B5EF4-FFF2-40B4-BE49-F238E27FC236}">
                <a16:creationId xmlns:a16="http://schemas.microsoft.com/office/drawing/2014/main" id="{52E9BFA7-3DD9-1D48-933F-E26AEED06AE2}"/>
              </a:ext>
            </a:extLst>
          </p:cNvPr>
          <p:cNvSpPr txBox="1">
            <a:spLocks/>
          </p:cNvSpPr>
          <p:nvPr/>
        </p:nvSpPr>
        <p:spPr>
          <a:xfrm>
            <a:off x="-159025" y="117880"/>
            <a:ext cx="11378422" cy="8833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Step 2- Interacting with the </a:t>
            </a:r>
            <a:r>
              <a:rPr lang="en-US" sz="4000" dirty="0" err="1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BlackBelt</a:t>
            </a:r>
            <a:r>
              <a:rPr lang="en-US" sz="4000" dirty="0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bot</a:t>
            </a:r>
          </a:p>
        </p:txBody>
      </p:sp>
      <p:sp>
        <p:nvSpPr>
          <p:cNvPr id="5" name="TextBox 4" descr="screenshot of webex team interaction">
            <a:extLst>
              <a:ext uri="{FF2B5EF4-FFF2-40B4-BE49-F238E27FC236}">
                <a16:creationId xmlns:a16="http://schemas.microsoft.com/office/drawing/2014/main" id="{841990E6-8ACB-5346-80FA-E3EBA4922652}"/>
              </a:ext>
            </a:extLst>
          </p:cNvPr>
          <p:cNvSpPr txBox="1"/>
          <p:nvPr/>
        </p:nvSpPr>
        <p:spPr>
          <a:xfrm>
            <a:off x="0" y="2064743"/>
            <a:ext cx="50645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a) Inside the </a:t>
            </a:r>
            <a:r>
              <a:rPr lang="en-US" sz="1600" dirty="0" err="1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BlackBelt</a:t>
            </a:r>
            <a:r>
              <a:rPr lang="en-US" sz="1600" dirty="0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bot space, on the right pane – type </a:t>
            </a:r>
            <a:r>
              <a:rPr lang="en-US" sz="1600" dirty="0">
                <a:highlight>
                  <a:srgbClr val="FFFF00"/>
                </a:highlight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“help” </a:t>
            </a:r>
            <a:r>
              <a:rPr lang="en-US" sz="1600" dirty="0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for list of commands that the bot understands</a:t>
            </a:r>
          </a:p>
        </p:txBody>
      </p:sp>
      <p:sp>
        <p:nvSpPr>
          <p:cNvPr id="6" name="TextBox 5" descr="screenshot of webex team interaction">
            <a:extLst>
              <a:ext uri="{FF2B5EF4-FFF2-40B4-BE49-F238E27FC236}">
                <a16:creationId xmlns:a16="http://schemas.microsoft.com/office/drawing/2014/main" id="{0C7717C5-E98C-F947-B46B-8BAF55BF37EC}"/>
              </a:ext>
            </a:extLst>
          </p:cNvPr>
          <p:cNvSpPr txBox="1"/>
          <p:nvPr/>
        </p:nvSpPr>
        <p:spPr>
          <a:xfrm>
            <a:off x="1" y="3236087"/>
            <a:ext cx="5206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b) Type </a:t>
            </a:r>
            <a:r>
              <a:rPr lang="en-US" sz="1600" dirty="0">
                <a:highlight>
                  <a:srgbClr val="FFFF00"/>
                </a:highlight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“</a:t>
            </a:r>
            <a:r>
              <a:rPr lang="en-US" sz="1600" dirty="0" err="1">
                <a:highlight>
                  <a:srgbClr val="FFFF00"/>
                </a:highlight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api</a:t>
            </a:r>
            <a:r>
              <a:rPr lang="en-US" sz="1600" dirty="0">
                <a:highlight>
                  <a:srgbClr val="FFFF00"/>
                </a:highlight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index” </a:t>
            </a:r>
            <a:r>
              <a:rPr lang="en-US" sz="1600" dirty="0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to see the list of available </a:t>
            </a:r>
            <a:r>
              <a:rPr lang="en-US" sz="1600" dirty="0" err="1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api</a:t>
            </a:r>
            <a:r>
              <a:rPr lang="en-US" sz="1600" dirty="0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quick reference topics</a:t>
            </a:r>
          </a:p>
        </p:txBody>
      </p:sp>
      <p:sp>
        <p:nvSpPr>
          <p:cNvPr id="7" name="TextBox 6" descr="screenshot of webex team interaction">
            <a:extLst>
              <a:ext uri="{FF2B5EF4-FFF2-40B4-BE49-F238E27FC236}">
                <a16:creationId xmlns:a16="http://schemas.microsoft.com/office/drawing/2014/main" id="{0E7BBAAF-4B77-8F4D-9E2D-78230EF1282D}"/>
              </a:ext>
            </a:extLst>
          </p:cNvPr>
          <p:cNvSpPr txBox="1"/>
          <p:nvPr/>
        </p:nvSpPr>
        <p:spPr>
          <a:xfrm>
            <a:off x="-1" y="4164649"/>
            <a:ext cx="50645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c) As an example, you may type </a:t>
            </a:r>
            <a:r>
              <a:rPr lang="en-US" sz="1600" dirty="0">
                <a:highlight>
                  <a:srgbClr val="FFFF00"/>
                </a:highlight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“</a:t>
            </a:r>
            <a:r>
              <a:rPr lang="en-US" sz="1600" dirty="0" err="1">
                <a:highlight>
                  <a:srgbClr val="FFFF00"/>
                </a:highlight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api</a:t>
            </a:r>
            <a:r>
              <a:rPr lang="en-US" sz="1600" dirty="0">
                <a:highlight>
                  <a:srgbClr val="FFFF00"/>
                </a:highlight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dirty="0" err="1">
                <a:highlight>
                  <a:srgbClr val="FFFF00"/>
                </a:highlight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webex_teams</a:t>
            </a:r>
            <a:r>
              <a:rPr lang="en-US" sz="1600" dirty="0">
                <a:highlight>
                  <a:srgbClr val="FFFF00"/>
                </a:highlight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” </a:t>
            </a:r>
            <a:r>
              <a:rPr lang="en-US" sz="1600" dirty="0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to view the </a:t>
            </a:r>
            <a:r>
              <a:rPr lang="en-US" sz="1600" dirty="0" err="1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api</a:t>
            </a:r>
            <a:r>
              <a:rPr lang="en-US" sz="1600" dirty="0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quick reference for </a:t>
            </a:r>
            <a:r>
              <a:rPr lang="en-US" sz="1600" dirty="0" err="1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Webex</a:t>
            </a:r>
            <a:r>
              <a:rPr lang="en-US" sz="1600" dirty="0"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Teams</a:t>
            </a:r>
          </a:p>
        </p:txBody>
      </p:sp>
      <p:pic>
        <p:nvPicPr>
          <p:cNvPr id="8" name="Picture 7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97E6E26F-9F22-9D4F-896A-E6F7E3293B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6801" y="1001269"/>
            <a:ext cx="6985199" cy="5856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1742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067B7C-2F63-4F10-A55E-ACF75D16C0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067B7C-2F63-4F10-A55E-ACF75D16C0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858702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</TotalTime>
  <Words>142</Words>
  <Application>Microsoft Macintosh PowerPoint</Application>
  <PresentationFormat>Widescreen</PresentationFormat>
  <Paragraphs>11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Calibri</vt:lpstr>
      <vt:lpstr>Calibri Light</vt:lpstr>
      <vt:lpstr>CiscoSansTT ExtraLight</vt:lpstr>
      <vt:lpstr>Office Theme</vt:lpstr>
      <vt:lpstr>Blue theme 2015 16x9</vt:lpstr>
      <vt:lpstr>think-cell Slide</vt:lpstr>
      <vt:lpstr> Cisco Programmability BlackBelt Bot – API Quick Reference Usage </vt:lpstr>
      <vt:lpstr>Step 1- Accessing the BlackBelt bot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Cisco Programmability BlackBelt Bot Usage </dc:title>
  <dc:creator>Joel Jose (joeljos)</dc:creator>
  <cp:lastModifiedBy>Joel Jose (joeljos)</cp:lastModifiedBy>
  <cp:revision>11</cp:revision>
  <dcterms:created xsi:type="dcterms:W3CDTF">2019-04-03T06:41:39Z</dcterms:created>
  <dcterms:modified xsi:type="dcterms:W3CDTF">2019-07-01T04:19:58Z</dcterms:modified>
</cp:coreProperties>
</file>